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9" d="100"/>
          <a:sy n="69" d="100"/>
        </p:scale>
        <p:origin x="213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7/10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7/10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 smtClean="0">
                <a:solidFill>
                  <a:schemeClr val="accent4"/>
                </a:solidFill>
              </a:rPr>
              <a:t>PartialCapturePossible</a:t>
            </a:r>
            <a:r>
              <a:rPr lang="da-DK" sz="1100" b="1" dirty="0" smtClean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 smtClean="0">
                <a:solidFill>
                  <a:schemeClr val="accent4"/>
                </a:solidFill>
              </a:rPr>
              <a:t>PartialCapturePossible</a:t>
            </a:r>
            <a:r>
              <a:rPr lang="da-DK" sz="1100" b="1" dirty="0" smtClean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already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smtClean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]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>
            <a:xfrm>
              <a:off x="4859540" y="411181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5" name="Elbow Connector 24"/>
            <p:cNvCxnSpPr>
              <a:stCxn id="8" idx="4"/>
              <a:endCxn id="23" idx="2"/>
            </p:cNvCxnSpPr>
            <p:nvPr/>
          </p:nvCxnSpPr>
          <p:spPr>
            <a:xfrm rot="16200000" flipH="1">
              <a:off x="3733810" y="3706083"/>
              <a:ext cx="698338" cy="155312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6085244" y="662834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3" name="Elbow Connector 32"/>
            <p:cNvCxnSpPr>
              <a:stCxn id="8" idx="4"/>
              <a:endCxn id="31" idx="2"/>
            </p:cNvCxnSpPr>
            <p:nvPr/>
          </p:nvCxnSpPr>
          <p:spPr>
            <a:xfrm rot="16200000" flipH="1">
              <a:off x="4395862" y="5658966"/>
              <a:ext cx="590313" cy="278845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719</TotalTime>
  <Words>927</Words>
  <Application>Microsoft Office PowerPoint</Application>
  <PresentationFormat>Custom</PresentationFormat>
  <Paragraphs>306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Thomas Toftkjær</cp:lastModifiedBy>
  <cp:revision>92</cp:revision>
  <dcterms:created xsi:type="dcterms:W3CDTF">2019-10-15T10:47:01Z</dcterms:created>
  <dcterms:modified xsi:type="dcterms:W3CDTF">2020-10-07T07:25:35Z</dcterms:modified>
</cp:coreProperties>
</file>